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299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104" d="100"/>
          <a:sy n="104" d="100"/>
        </p:scale>
        <p:origin x="182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13866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469414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202348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96749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6339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83076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990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197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78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 June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DE31BDA-039E-4A3E-8338-828F1FD9F379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2">
            <a:extLst>
              <a:ext uri="{FF2B5EF4-FFF2-40B4-BE49-F238E27FC236}">
                <a16:creationId xmlns:a16="http://schemas.microsoft.com/office/drawing/2014/main" id="{38A6DF90-C868-4AF9-A7E0-342C67885D0C}"/>
              </a:ext>
            </a:extLst>
          </p:cNvPr>
          <p:cNvGrpSpPr>
            <a:grpSpLocks/>
          </p:cNvGrpSpPr>
          <p:nvPr/>
        </p:nvGrpSpPr>
        <p:grpSpPr bwMode="auto">
          <a:xfrm>
            <a:off x="639184" y="1701763"/>
            <a:ext cx="7991475" cy="4041776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C3CCE542-9CFB-465B-8B26-0E840F2A6AA4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36CD4861-5C6E-4731-93E1-60BCC4D54A58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E8AD6660-2341-4FB7-9248-4EF695C1D05B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507E016C-4C8F-4C66-9F7E-FC432144E31B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 downtime from obsolete components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03001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S5 to S7 Siemens PLC Conversion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Obsolesc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Series 1 blowers (SBO 2, SBO 4, SBO 6, SBO 10, SBO 16, SBO 24, SBO 40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423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 descr="S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0480" y="4246719"/>
            <a:ext cx="1503515" cy="1378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6A21929-FAE3-4E91-8BAF-33FDFE9D1D4C}"/>
              </a:ext>
            </a:extLst>
          </p:cNvPr>
          <p:cNvSpPr/>
          <p:nvPr/>
        </p:nvSpPr>
        <p:spPr>
          <a:xfrm>
            <a:off x="647700" y="2078002"/>
            <a:ext cx="3880859" cy="2608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Starting from 2014, Siemens will stop production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of S5 components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Anticipate this upgrade to avoid possible failure which can stop your equipment </a:t>
            </a:r>
            <a:r>
              <a:rPr lang="en-US" sz="1200" b="1" dirty="0">
                <a:solidFill>
                  <a:srgbClr val="E64B00"/>
                </a:solidFill>
              </a:rPr>
              <a:t>for more than </a:t>
            </a:r>
            <a:br>
              <a:rPr lang="en-US" sz="1200" b="1" dirty="0">
                <a:solidFill>
                  <a:srgbClr val="E64B00"/>
                </a:solidFill>
              </a:rPr>
            </a:br>
            <a:r>
              <a:rPr lang="en-US" sz="1200" b="1" dirty="0">
                <a:solidFill>
                  <a:srgbClr val="E64B00"/>
                </a:solidFill>
              </a:rPr>
              <a:t>10 weeks</a:t>
            </a:r>
            <a:r>
              <a:rPr lang="en-US" sz="1200" dirty="0">
                <a:solidFill>
                  <a:srgbClr val="000000"/>
                </a:solidFill>
              </a:rPr>
              <a:t> (average time to perform software and hardware modifications) 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A conversion from S5 to S7 components (hardware and software), done by Sidel engineers, allows you to keep your machine upgradable with whatever evolution you may need in the future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To ensure a perfect software conversion the new S7 software is tested on a bench before being installed on the machin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6C9E53-E4B1-4983-AE6B-D947D56F63B7}"/>
              </a:ext>
            </a:extLst>
          </p:cNvPr>
          <p:cNvSpPr/>
          <p:nvPr/>
        </p:nvSpPr>
        <p:spPr>
          <a:xfrm>
            <a:off x="4770520" y="2100721"/>
            <a:ext cx="3860139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New S7 software programming, tailored for specific options found on the equipment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S7 components are assembled and wired at Sidel in order to save time on your site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For the SBO fitted with a pyrometer, a new compatible LCD display is also supplied</a:t>
            </a:r>
          </a:p>
        </p:txBody>
      </p:sp>
    </p:spTree>
    <p:extLst>
      <p:ext uri="{BB962C8B-B14F-4D97-AF65-F5344CB8AC3E}">
        <p14:creationId xmlns:p14="http://schemas.microsoft.com/office/powerpoint/2010/main" val="3113206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02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宋体</vt:lpstr>
      <vt:lpstr>Arial</vt:lpstr>
      <vt:lpstr>Wingdings</vt:lpstr>
      <vt:lpstr>LIOMT</vt:lpstr>
      <vt:lpstr>think-cell Folie</vt:lpstr>
      <vt:lpstr>Avoid downtime from obsolete components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1</cp:revision>
  <dcterms:created xsi:type="dcterms:W3CDTF">2014-05-22T13:23:46Z</dcterms:created>
  <dcterms:modified xsi:type="dcterms:W3CDTF">2020-06-08T14:1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6-08T14:13:03.0317013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